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Default Extension="gif" ContentType="image/gif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Default Extension="png" ContentType="image/png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396" r:id="rId2"/>
    <p:sldId id="388" r:id="rId3"/>
    <p:sldId id="389" r:id="rId4"/>
    <p:sldId id="390" r:id="rId5"/>
    <p:sldId id="391" r:id="rId6"/>
    <p:sldId id="392" r:id="rId7"/>
    <p:sldId id="393" r:id="rId8"/>
    <p:sldId id="394" r:id="rId9"/>
    <p:sldId id="395" r:id="rId10"/>
  </p:sldIdLst>
  <p:sldSz cx="9144000" cy="5143500" type="screen16x9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2017" autoAdjust="0"/>
    <p:restoredTop sz="97356" autoAdjust="0"/>
  </p:normalViewPr>
  <p:slideViewPr>
    <p:cSldViewPr>
      <p:cViewPr>
        <p:scale>
          <a:sx n="125" d="100"/>
          <a:sy n="125" d="100"/>
        </p:scale>
        <p:origin x="-1140" y="-432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4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3.jpe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2.jpeg"/><Relationship Id="rId5" Type="http://schemas.openxmlformats.org/officeDocument/2006/relationships/tags" Target="../tags/tag5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image" Target="../media/image4.jpeg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image" Target="../media/image3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image" Target="../media/image2.jpeg"/><Relationship Id="rId5" Type="http://schemas.openxmlformats.org/officeDocument/2006/relationships/tags" Target="../tags/tag14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3.xml"/><Relationship Id="rId9" Type="http://schemas.openxmlformats.org/officeDocument/2006/relationships/tags" Target="../tags/tag18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image" Target="../media/image3.jpeg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image" Target="../media/image2.jpeg"/><Relationship Id="rId2" Type="http://schemas.openxmlformats.org/officeDocument/2006/relationships/tags" Target="../tags/tag20.xml"/><Relationship Id="rId16" Type="http://schemas.openxmlformats.org/officeDocument/2006/relationships/image" Target="../media/image5.png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15" Type="http://schemas.openxmlformats.org/officeDocument/2006/relationships/image" Target="../media/image1.png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image" Target="../media/image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8" name="Gruppieren 27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10244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2" cstate="print"/>
            <a:srcRect l="2710" t="17398" r="32234"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7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10242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3" cstate="print"/>
              <a:srcRect l="33622" r="29108" b="83646"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23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3" cstate="print"/>
              <a:srcRect l="36383" t="16354" r="31869" b="57232"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26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3" cstate="print"/>
              <a:srcRect l="39144" t="42098" r="34630" b="29567"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1347614"/>
            <a:ext cx="7772400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 userDrawn="1">
            <p:ph type="subTitle" idx="1"/>
          </p:nvPr>
        </p:nvSpPr>
        <p:spPr>
          <a:xfrm>
            <a:off x="1371600" y="2355726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3" name="Textfeld 12"/>
          <p:cNvSpPr txBox="1"/>
          <p:nvPr userDrawn="1"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" name="Freihandform 13"/>
          <p:cNvSpPr/>
          <p:nvPr userDrawn="1"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 userDrawn="1"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 userDrawn="1"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Parallelogramm 16"/>
          <p:cNvSpPr/>
          <p:nvPr userDrawn="1"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Parallelogramm 17"/>
          <p:cNvSpPr/>
          <p:nvPr userDrawn="1"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Freihandform 18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Freihandform 19"/>
          <p:cNvSpPr/>
          <p:nvPr userDrawn="1"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hteck 20"/>
          <p:cNvSpPr/>
          <p:nvPr userDrawn="1">
            <p:custDataLst>
              <p:tags r:id="rId9"/>
            </p:custDataLst>
          </p:nvPr>
        </p:nvSpPr>
        <p:spPr>
          <a:xfrm>
            <a:off x="795" y="648469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Rectangle 3"/>
          <p:cNvSpPr txBox="1">
            <a:spLocks noChangeArrowheads="1"/>
          </p:cNvSpPr>
          <p:nvPr userDrawn="1"/>
        </p:nvSpPr>
        <p:spPr bwMode="auto">
          <a:xfrm>
            <a:off x="845840" y="4240838"/>
            <a:ext cx="7452320" cy="85119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kern="0" dirty="0" smtClean="0">
                <a:latin typeface="+mn-lt"/>
              </a:rPr>
              <a:t>Prof. Dr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iorg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elidze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Prof. Dr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lkhaz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ashiashvili</a:t>
            </a:r>
            <a:r>
              <a:rPr lang="en-US" sz="1400" b="1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&amp;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f. </a:t>
            </a:r>
            <a:r>
              <a:rPr lang="en-US" sz="1400" b="1" kern="0" dirty="0" smtClean="0">
                <a:latin typeface="+mn-lt"/>
              </a:rPr>
              <a:t>Dr. Dr. </a:t>
            </a:r>
            <a:r>
              <a:rPr lang="en-US" sz="1400" b="1" kern="0" dirty="0" err="1" smtClean="0">
                <a:latin typeface="+mn-lt"/>
              </a:rPr>
              <a:t>h.c</a:t>
            </a:r>
            <a:r>
              <a:rPr lang="en-US" sz="1400" b="1" kern="0" dirty="0" smtClean="0">
                <a:latin typeface="+mn-lt"/>
              </a:rPr>
              <a:t>. Florian Rupp</a:t>
            </a:r>
            <a:endParaRPr kumimoji="0" 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500" dirty="0" smtClean="0"/>
          </a:p>
          <a:p>
            <a:pPr algn="ctr" eaLnBrk="1" hangingPunct="1"/>
            <a:r>
              <a:rPr lang="en-US" sz="1400" dirty="0" smtClean="0"/>
              <a:t>Kutaisi International</a:t>
            </a:r>
            <a:r>
              <a:rPr lang="en-US" sz="1400" baseline="0" dirty="0" smtClean="0"/>
              <a:t> University</a:t>
            </a:r>
            <a:endParaRPr lang="en-US" sz="1400" dirty="0" smtClean="0"/>
          </a:p>
        </p:txBody>
      </p:sp>
      <p:pic>
        <p:nvPicPr>
          <p:cNvPr id="24" name="Grafik 23" descr="index.png"/>
          <p:cNvPicPr>
            <a:picLocks noChangeAspect="1"/>
          </p:cNvPicPr>
          <p:nvPr userDrawn="1"/>
        </p:nvPicPr>
        <p:blipFill>
          <a:blip r:embed="rId14" cstate="print"/>
          <a:stretch>
            <a:fillRect/>
          </a:stretch>
        </p:blipFill>
        <p:spPr>
          <a:xfrm>
            <a:off x="179513" y="4437868"/>
            <a:ext cx="1872207" cy="58215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eck 19"/>
          <p:cNvSpPr/>
          <p:nvPr userDrawn="1"/>
        </p:nvSpPr>
        <p:spPr>
          <a:xfrm>
            <a:off x="6084168" y="0"/>
            <a:ext cx="3059832" cy="810000"/>
          </a:xfrm>
          <a:prstGeom prst="rect">
            <a:avLst/>
          </a:pr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1"/>
            </p:custDataLst>
          </p:nvPr>
        </p:nvSpPr>
        <p:spPr>
          <a:xfrm>
            <a:off x="560" y="456093"/>
            <a:ext cx="9143440" cy="354739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3" name="Gruppieren 42"/>
          <p:cNvGrpSpPr/>
          <p:nvPr userDrawn="1"/>
        </p:nvGrpSpPr>
        <p:grpSpPr>
          <a:xfrm>
            <a:off x="0" y="0"/>
            <a:ext cx="6444207" cy="811112"/>
            <a:chOff x="0" y="0"/>
            <a:chExt cx="9156701" cy="1152525"/>
          </a:xfrm>
        </p:grpSpPr>
        <p:pic>
          <p:nvPicPr>
            <p:cNvPr id="28" name="Picture 8" descr="https://cdn.pixabay.com/photo/2016/04/13/19/23/binary-1327501_960_720.jpg"/>
            <p:cNvPicPr>
              <a:picLocks noChangeAspect="1" noChangeArrowheads="1"/>
            </p:cNvPicPr>
            <p:nvPr userDrawn="1"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395536" y="0"/>
              <a:ext cx="2828754" cy="1152128"/>
            </a:xfrm>
            <a:prstGeom prst="rect">
              <a:avLst/>
            </a:prstGeom>
            <a:noFill/>
          </p:spPr>
        </p:pic>
        <p:grpSp>
          <p:nvGrpSpPr>
            <p:cNvPr id="29" name="Gruppieren 28"/>
            <p:cNvGrpSpPr/>
            <p:nvPr userDrawn="1"/>
          </p:nvGrpSpPr>
          <p:grpSpPr>
            <a:xfrm>
              <a:off x="3059832" y="0"/>
              <a:ext cx="3312368" cy="1152525"/>
              <a:chOff x="3059832" y="0"/>
              <a:chExt cx="3312368" cy="1152525"/>
            </a:xfrm>
          </p:grpSpPr>
          <p:pic>
            <p:nvPicPr>
              <p:cNvPr id="30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  <p:cNvPicPr>
                <a:picLocks noChangeAspect="1" noChangeArrowheads="1"/>
              </p:cNvPicPr>
              <p:nvPr userDrawn="1"/>
            </p:nvPicPr>
            <p:blipFill>
              <a:blip r:embed="rId12" cstate="print"/>
              <a:srcRect l="2710" t="17398" r="32234"/>
              <a:stretch>
                <a:fillRect/>
              </a:stretch>
            </p:blipFill>
            <p:spPr bwMode="auto">
              <a:xfrm>
                <a:off x="3059832" y="0"/>
                <a:ext cx="1728192" cy="1152128"/>
              </a:xfrm>
              <a:prstGeom prst="rect">
                <a:avLst/>
              </a:prstGeom>
              <a:noFill/>
            </p:spPr>
          </p:pic>
          <p:grpSp>
            <p:nvGrpSpPr>
              <p:cNvPr id="31" name="Gruppieren 26"/>
              <p:cNvGrpSpPr/>
              <p:nvPr userDrawn="1"/>
            </p:nvGrpSpPr>
            <p:grpSpPr>
              <a:xfrm>
                <a:off x="4427984" y="0"/>
                <a:ext cx="1944216" cy="1152525"/>
                <a:chOff x="4427984" y="0"/>
                <a:chExt cx="1944216" cy="1152525"/>
              </a:xfrm>
            </p:grpSpPr>
            <p:pic>
              <p:nvPicPr>
                <p:cNvPr id="32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3" cstate="print"/>
                <a:srcRect l="33622" r="29108" b="83646"/>
                <a:stretch>
                  <a:fillRect/>
                </a:stretch>
              </p:blipFill>
              <p:spPr bwMode="auto">
                <a:xfrm>
                  <a:off x="4427984" y="0"/>
                  <a:ext cx="1944216" cy="267494"/>
                </a:xfrm>
                <a:prstGeom prst="rect">
                  <a:avLst/>
                </a:prstGeom>
                <a:noFill/>
              </p:spPr>
            </p:pic>
            <p:pic>
              <p:nvPicPr>
                <p:cNvPr id="33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3" cstate="print"/>
                <a:srcRect l="36383" t="16354" r="31869" b="57232"/>
                <a:stretch>
                  <a:fillRect/>
                </a:stretch>
              </p:blipFill>
              <p:spPr bwMode="auto">
                <a:xfrm>
                  <a:off x="4572000" y="267494"/>
                  <a:ext cx="1656184" cy="432048"/>
                </a:xfrm>
                <a:prstGeom prst="rect">
                  <a:avLst/>
                </a:prstGeom>
                <a:noFill/>
              </p:spPr>
            </p:pic>
            <p:pic>
              <p:nvPicPr>
                <p:cNvPr id="34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3" cstate="print"/>
                <a:srcRect l="39144" t="42098" r="34630" b="29567"/>
                <a:stretch>
                  <a:fillRect/>
                </a:stretch>
              </p:blipFill>
              <p:spPr bwMode="auto">
                <a:xfrm>
                  <a:off x="4716016" y="689073"/>
                  <a:ext cx="1368152" cy="463452"/>
                </a:xfrm>
                <a:prstGeom prst="rect">
                  <a:avLst/>
                </a:prstGeom>
                <a:noFill/>
              </p:spPr>
            </p:pic>
          </p:grpSp>
        </p:grpSp>
        <p:sp>
          <p:nvSpPr>
            <p:cNvPr id="35" name="Freihandform 34"/>
            <p:cNvSpPr/>
            <p:nvPr userDrawn="1">
              <p:custDataLst>
                <p:tags r:id="rId2"/>
              </p:custDataLst>
            </p:nvPr>
          </p:nvSpPr>
          <p:spPr>
            <a:xfrm flipH="1">
              <a:off x="6024860" y="447"/>
              <a:ext cx="313184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1955800"/>
                <a:gd name="connsiteY0" fmla="*/ 0 h 1143000"/>
                <a:gd name="connsiteX1" fmla="*/ 1641023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641023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Parallelogramm 35"/>
            <p:cNvSpPr/>
            <p:nvPr userDrawn="1">
              <p:custDataLst>
                <p:tags r:id="rId3"/>
              </p:custDataLst>
            </p:nvPr>
          </p:nvSpPr>
          <p:spPr>
            <a:xfrm>
              <a:off x="5808836" y="1"/>
              <a:ext cx="792088" cy="1152128"/>
            </a:xfrm>
            <a:prstGeom prst="parallelogram">
              <a:avLst>
                <a:gd name="adj" fmla="val 63481"/>
              </a:avLst>
            </a:pr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Parallelogramm 36"/>
            <p:cNvSpPr/>
            <p:nvPr userDrawn="1">
              <p:custDataLst>
                <p:tags r:id="rId4"/>
              </p:custDataLst>
            </p:nvPr>
          </p:nvSpPr>
          <p:spPr>
            <a:xfrm>
              <a:off x="2568476" y="1"/>
              <a:ext cx="1152128" cy="1152128"/>
            </a:xfrm>
            <a:prstGeom prst="parallelogram">
              <a:avLst>
                <a:gd name="adj" fmla="val 52628"/>
              </a:avLst>
            </a:prstGeom>
            <a:solidFill>
              <a:srgbClr val="1F497D">
                <a:lumMod val="60000"/>
                <a:lumOff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Parallelogramm 37"/>
            <p:cNvSpPr/>
            <p:nvPr userDrawn="1">
              <p:custDataLst>
                <p:tags r:id="rId5"/>
              </p:custDataLst>
            </p:nvPr>
          </p:nvSpPr>
          <p:spPr>
            <a:xfrm flipH="1">
              <a:off x="4296668" y="1"/>
              <a:ext cx="648072" cy="1152128"/>
            </a:xfrm>
            <a:prstGeom prst="parallelogram">
              <a:avLst>
                <a:gd name="adj" fmla="val 68305"/>
              </a:avLst>
            </a:prstGeom>
            <a:solidFill>
              <a:srgbClr val="F79646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Parallelogramm 38"/>
            <p:cNvSpPr/>
            <p:nvPr userDrawn="1">
              <p:custDataLst>
                <p:tags r:id="rId6"/>
              </p:custDataLst>
            </p:nvPr>
          </p:nvSpPr>
          <p:spPr>
            <a:xfrm>
              <a:off x="2568476" y="1"/>
              <a:ext cx="1008112" cy="1152128"/>
            </a:xfrm>
            <a:prstGeom prst="parallelogram">
              <a:avLst>
                <a:gd name="adj" fmla="val 88390"/>
              </a:avLst>
            </a:prstGeom>
            <a:solidFill>
              <a:srgbClr val="4F81BD">
                <a:lumMod val="20000"/>
                <a:lumOff val="8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ihandform 39"/>
            <p:cNvSpPr/>
            <p:nvPr userDrawn="1">
              <p:custDataLst>
                <p:tags r:id="rId7"/>
              </p:custDataLst>
            </p:nvPr>
          </p:nvSpPr>
          <p:spPr>
            <a:xfrm>
              <a:off x="0" y="0"/>
              <a:ext cx="195580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485900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ihandform 40"/>
            <p:cNvSpPr/>
            <p:nvPr userDrawn="1">
              <p:custDataLst>
                <p:tags r:id="rId8"/>
              </p:custDataLst>
            </p:nvPr>
          </p:nvSpPr>
          <p:spPr>
            <a:xfrm>
              <a:off x="2580060" y="1"/>
              <a:ext cx="92452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0 w 2880320"/>
                <a:gd name="connsiteY4" fmla="*/ 0 h 1143000"/>
                <a:gd name="connsiteX0" fmla="*/ 216024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2160240 w 28803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132432 w 924520"/>
                <a:gd name="connsiteY3" fmla="*/ 643436 h 1143000"/>
                <a:gd name="connsiteX4" fmla="*/ 204440 w 9245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204440 w 924520"/>
                <a:gd name="connsiteY4" fmla="*/ 0 h 1143000"/>
                <a:gd name="connsiteX0" fmla="*/ 348456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348456 w 924520"/>
                <a:gd name="connsiteY4" fmla="*/ 0 h 1143000"/>
                <a:gd name="connsiteX0" fmla="*/ 348456 w 924520"/>
                <a:gd name="connsiteY0" fmla="*/ 571943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0" fmla="*/ 420464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420464 w 924520"/>
                <a:gd name="connsiteY3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4520" h="1143000">
                  <a:moveTo>
                    <a:pt x="420464" y="0"/>
                  </a:moveTo>
                  <a:lnTo>
                    <a:pt x="924520" y="0"/>
                  </a:lnTo>
                  <a:lnTo>
                    <a:pt x="0" y="1143000"/>
                  </a:lnTo>
                  <a:lnTo>
                    <a:pt x="420464" y="0"/>
                  </a:lnTo>
                  <a:close/>
                </a:path>
              </a:pathLst>
            </a:cu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Rechteck 41"/>
            <p:cNvSpPr/>
            <p:nvPr userDrawn="1">
              <p:custDataLst>
                <p:tags r:id="rId9"/>
              </p:custDataLst>
            </p:nvPr>
          </p:nvSpPr>
          <p:spPr>
            <a:xfrm>
              <a:off x="795" y="648072"/>
              <a:ext cx="9155906" cy="504056"/>
            </a:xfrm>
            <a:prstGeom prst="rect">
              <a:avLst/>
            </a:prstGeom>
            <a:solidFill>
              <a:srgbClr val="FFFFFF">
                <a:alpha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1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6" name="Gruppieren 25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27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3" cstate="print"/>
            <a:srcRect l="2710" t="17398" r="32234"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8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29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 l="33622" r="29108" b="83646"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30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 l="36383" t="16354" r="31869" b="57232"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31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 l="39144" t="42098" r="34630" b="29567"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4" name="Rechteck 23"/>
          <p:cNvSpPr/>
          <p:nvPr userDrawn="1"/>
        </p:nvSpPr>
        <p:spPr>
          <a:xfrm>
            <a:off x="179512" y="1275606"/>
            <a:ext cx="3240360" cy="3744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feld 10"/>
          <p:cNvSpPr txBox="1"/>
          <p:nvPr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2" name="Freihandform 11"/>
          <p:cNvSpPr/>
          <p:nvPr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Parallelogramm 12"/>
          <p:cNvSpPr/>
          <p:nvPr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Parallelogramm 13"/>
          <p:cNvSpPr/>
          <p:nvPr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Freihandform 16"/>
          <p:cNvSpPr/>
          <p:nvPr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Freihandform 17"/>
          <p:cNvSpPr/>
          <p:nvPr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9"/>
            </p:custDataLst>
          </p:nvPr>
        </p:nvSpPr>
        <p:spPr>
          <a:xfrm>
            <a:off x="795" y="648072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itel 1"/>
          <p:cNvSpPr>
            <a:spLocks noGrp="1"/>
          </p:cNvSpPr>
          <p:nvPr userDrawn="1">
            <p:ph type="ctrTitle"/>
          </p:nvPr>
        </p:nvSpPr>
        <p:spPr>
          <a:xfrm>
            <a:off x="3851920" y="1275606"/>
            <a:ext cx="5112568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23" name="Rectangle 5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4752020" y="4299942"/>
            <a:ext cx="3240360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ctr">
              <a:spcBef>
                <a:spcPct val="20000"/>
              </a:spcBef>
            </a:pPr>
            <a:endParaRPr lang="en-US" sz="1400" dirty="0" smtClean="0"/>
          </a:p>
        </p:txBody>
      </p:sp>
      <p:sp>
        <p:nvSpPr>
          <p:cNvPr id="25" name="Textfeld 24"/>
          <p:cNvSpPr txBox="1"/>
          <p:nvPr userDrawn="1"/>
        </p:nvSpPr>
        <p:spPr>
          <a:xfrm>
            <a:off x="3851920" y="2355726"/>
            <a:ext cx="504056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/>
              <a:t>Questions &amp; Remarks?</a:t>
            </a:r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r>
              <a:rPr lang="en-US" sz="2000" dirty="0" smtClean="0"/>
              <a:t>Thank You Very Much</a:t>
            </a:r>
            <a:endParaRPr lang="en-US" sz="2000" dirty="0"/>
          </a:p>
        </p:txBody>
      </p:sp>
      <p:pic>
        <p:nvPicPr>
          <p:cNvPr id="22" name="Grafik 21" descr="index.png"/>
          <p:cNvPicPr>
            <a:picLocks noChangeAspect="1"/>
          </p:cNvPicPr>
          <p:nvPr userDrawn="1"/>
        </p:nvPicPr>
        <p:blipFill>
          <a:blip r:embed="rId15" cstate="print"/>
          <a:stretch>
            <a:fillRect/>
          </a:stretch>
        </p:blipFill>
        <p:spPr>
          <a:xfrm>
            <a:off x="3798963" y="4578133"/>
            <a:ext cx="1421109" cy="441887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16" cstate="print"/>
          <a:srcRect l="12114" t="13100" r="62264" b="4301"/>
          <a:stretch>
            <a:fillRect/>
          </a:stretch>
        </p:blipFill>
        <p:spPr bwMode="auto">
          <a:xfrm>
            <a:off x="179512" y="1678889"/>
            <a:ext cx="3240360" cy="29378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invGray">
          <a:xfrm>
            <a:off x="0" y="1"/>
            <a:ext cx="9144000" cy="81502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 prst="coolSlant"/>
          </a:sp3d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9" name="Abgerundetes Rechteck 8"/>
          <p:cNvSpPr/>
          <p:nvPr userDrawn="1"/>
        </p:nvSpPr>
        <p:spPr>
          <a:xfrm>
            <a:off x="118693" y="105507"/>
            <a:ext cx="667317" cy="598738"/>
          </a:xfrm>
          <a:prstGeom prst="roundRect">
            <a:avLst>
              <a:gd name="adj" fmla="val 917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  <p:pic>
        <p:nvPicPr>
          <p:cNvPr id="12" name="Grafik 11" descr="index.png"/>
          <p:cNvPicPr>
            <a:picLocks noChangeAspect="1"/>
          </p:cNvPicPr>
          <p:nvPr userDrawn="1"/>
        </p:nvPicPr>
        <p:blipFill>
          <a:blip r:embed="rId6" cstate="print"/>
          <a:srcRect r="69566"/>
          <a:stretch>
            <a:fillRect/>
          </a:stretch>
        </p:blipFill>
        <p:spPr>
          <a:xfrm>
            <a:off x="166812" y="110777"/>
            <a:ext cx="576064" cy="58856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  <p:sldLayoutId id="2147483656" r:id="rId4"/>
  </p:sldLayoutIdLst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gif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I for MGMT – Introduction to Vectors &amp; Matrices</a:t>
            </a:r>
            <a:br>
              <a:rPr lang="en-US" dirty="0" smtClean="0"/>
            </a:br>
            <a:r>
              <a:rPr lang="en-US" dirty="0" smtClean="0"/>
              <a:t>Matrix Computations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 smtClean="0"/>
          </a:p>
          <a:p>
            <a:r>
              <a:rPr lang="en-US" dirty="0" smtClean="0"/>
              <a:t>Mathematics for Management</a:t>
            </a:r>
          </a:p>
          <a:p>
            <a:r>
              <a:rPr lang="en-US" dirty="0" smtClean="0"/>
              <a:t>Supplementary Electronic Materials</a:t>
            </a:r>
          </a:p>
          <a:p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7092280" y="3795886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Matrix-matrix computations</a:t>
            </a: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7092280" y="4227934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A primer on </a:t>
            </a:r>
            <a:r>
              <a:rPr lang="en-US" sz="1000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eigenvalues</a:t>
            </a:r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and eigenvectors</a:t>
            </a:r>
            <a:endParaRPr lang="en-US" sz="10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7092280" y="4659982"/>
            <a:ext cx="1800200" cy="360040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de-DE" sz="1000" dirty="0" smtClean="0"/>
              <a:t>Inverse </a:t>
            </a:r>
            <a:r>
              <a:rPr lang="de-DE" sz="1000" dirty="0" err="1" smtClean="0"/>
              <a:t>matrices</a:t>
            </a:r>
            <a:endParaRPr lang="de-DE" sz="1000" dirty="0" smtClean="0"/>
          </a:p>
        </p:txBody>
      </p:sp>
      <p:sp>
        <p:nvSpPr>
          <p:cNvPr id="8" name="Rechteck 7"/>
          <p:cNvSpPr/>
          <p:nvPr/>
        </p:nvSpPr>
        <p:spPr>
          <a:xfrm>
            <a:off x="7092280" y="3363838"/>
            <a:ext cx="1800200" cy="360040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Matrix Computations</a:t>
            </a:r>
            <a:endParaRPr lang="en-US" sz="1000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inverse of a 2x2-matrix is easily obtained by virtue of an rather effortlessly to remember formula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224136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61"/>
            <a:ext cx="7053030" cy="1082848"/>
          </a:xfrm>
          <a:prstGeom prst="rect">
            <a:avLst/>
          </a:prstGeom>
          <a:noFill/>
          <a:ln/>
          <a:effectLst/>
        </p:spPr>
      </p:pic>
      <p:sp>
        <p:nvSpPr>
          <p:cNvPr id="10" name="Rechteck 9"/>
          <p:cNvSpPr/>
          <p:nvPr/>
        </p:nvSpPr>
        <p:spPr>
          <a:xfrm>
            <a:off x="1691680" y="2499742"/>
            <a:ext cx="7200800" cy="2520280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1" y="2571711"/>
            <a:ext cx="6058449" cy="242590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of:</a:t>
            </a:r>
            <a:br>
              <a:rPr lang="en-US" dirty="0" smtClean="0"/>
            </a:br>
            <a:r>
              <a:rPr lang="en-US" dirty="0" smtClean="0"/>
              <a:t>Formula for the inverse of a 2x2 matrix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58"/>
            <a:ext cx="7047262" cy="3696187"/>
          </a:xfrm>
          <a:prstGeom prst="rect">
            <a:avLst/>
          </a:prstGeom>
          <a:noFill/>
          <a:ln/>
          <a:effectLst/>
        </p:spPr>
      </p:pic>
      <p:sp>
        <p:nvSpPr>
          <p:cNvPr id="11" name="Rechteck 10"/>
          <p:cNvSpPr/>
          <p:nvPr/>
        </p:nvSpPr>
        <p:spPr>
          <a:xfrm>
            <a:off x="8676456" y="4803998"/>
            <a:ext cx="144016" cy="144016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pplication of the formula for the inverse of a 2x2-matrix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Grafik 1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57"/>
            <a:ext cx="5869937" cy="334158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determinant of the inverse is the inverse of the determinant (1/ 2)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Grafik 1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57"/>
            <a:ext cx="7071978" cy="381306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determinant of the inverse is the inverse of the determinant (2/ 2)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1512168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1" y="1203556"/>
            <a:ext cx="7043341" cy="1357260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1691680" y="2787774"/>
            <a:ext cx="7200800" cy="2232248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2859745"/>
            <a:ext cx="7063575" cy="211225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Computation of the inverse of a 2x2 matrix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53"/>
            <a:ext cx="6258365" cy="375073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/>
        </p:nvSpPr>
        <p:spPr>
          <a:xfrm>
            <a:off x="5470004" y="4259684"/>
            <a:ext cx="936104" cy="64807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/>
          <p:cNvSpPr/>
          <p:nvPr/>
        </p:nvSpPr>
        <p:spPr>
          <a:xfrm>
            <a:off x="2195736" y="1196774"/>
            <a:ext cx="648072" cy="64807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Computation of the inverse of a 3x3 matrix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2" descr="http://www.mathportal.org/linear-algebra/matrices/gauss-jordan_files/10.gif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b="5474"/>
          <a:stretch>
            <a:fillRect/>
          </a:stretch>
        </p:blipFill>
        <p:spPr bwMode="auto">
          <a:xfrm>
            <a:off x="2195737" y="1167067"/>
            <a:ext cx="6480719" cy="3817479"/>
          </a:xfrm>
          <a:prstGeom prst="rect">
            <a:avLst/>
          </a:prstGeom>
          <a:noFill/>
        </p:spPr>
      </p:pic>
      <p:sp>
        <p:nvSpPr>
          <p:cNvPr id="7" name="Textfeld 6"/>
          <p:cNvSpPr txBox="1"/>
          <p:nvPr/>
        </p:nvSpPr>
        <p:spPr>
          <a:xfrm>
            <a:off x="1763688" y="1203598"/>
            <a:ext cx="28886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>
                <a:solidFill>
                  <a:srgbClr val="00B050"/>
                </a:solidFill>
              </a:rPr>
              <a:t>A</a:t>
            </a:r>
            <a:endParaRPr lang="en-US" sz="1400" dirty="0">
              <a:solidFill>
                <a:srgbClr val="00B050"/>
              </a:solidFill>
            </a:endParaRPr>
          </a:p>
        </p:txBody>
      </p:sp>
      <p:cxnSp>
        <p:nvCxnSpPr>
          <p:cNvPr id="10" name="Gerade Verbindung 9"/>
          <p:cNvCxnSpPr/>
          <p:nvPr/>
        </p:nvCxnSpPr>
        <p:spPr>
          <a:xfrm>
            <a:off x="1914525" y="1476375"/>
            <a:ext cx="338138" cy="109538"/>
          </a:xfrm>
          <a:prstGeom prst="line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4" name="Gerade Verbindung 13"/>
          <p:cNvCxnSpPr/>
          <p:nvPr/>
        </p:nvCxnSpPr>
        <p:spPr>
          <a:xfrm flipV="1">
            <a:off x="6372200" y="4587974"/>
            <a:ext cx="432048" cy="72008"/>
          </a:xfrm>
          <a:prstGeom prst="lin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7" name="Textfeld 16"/>
          <p:cNvSpPr txBox="1"/>
          <p:nvPr/>
        </p:nvSpPr>
        <p:spPr>
          <a:xfrm>
            <a:off x="6664995" y="4309468"/>
            <a:ext cx="38664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>
                <a:solidFill>
                  <a:srgbClr val="C00000"/>
                </a:solidFill>
              </a:rPr>
              <a:t>A</a:t>
            </a:r>
            <a:r>
              <a:rPr lang="en-US" sz="1400" baseline="30000" dirty="0" smtClean="0">
                <a:solidFill>
                  <a:srgbClr val="C00000"/>
                </a:solidFill>
              </a:rPr>
              <a:t>-1</a:t>
            </a:r>
            <a:endParaRPr lang="en-US" sz="1400" baseline="30000" dirty="0">
              <a:solidFill>
                <a:srgbClr val="C0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I for Management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12iISWwkOOVDsSNsZR1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87,9265"/>
  <p:tag name="ORIGINALWIDTH" val="4386,952"/>
  <p:tag name="LATEXADDIN" val="\documentclass{article}\pagestyle{empty}&#10;\usepackage{amsmath}&#10;\usepackage{amsfonts}&#10;\usepackage{amssymb}&#10;\begin{document}&#10;\begin{minipage}{12.4 cm}&#10;{\sffamily{&#10;We already know that for every real number $a \neq 0$ there is another number $a^{-1}$ (multiplicative inverse) such that $a \cdot a^{-1} = 1$ (multiplicative neutral element).\\[1mm]&#10;The next theorem states how to obtain the multiplicative inverse $A^{-1}$ of any square $2 \times 2$-matrix $A$ of rank $2$:&#10;}}&#10;\end{minipage}&#10;\end{document}"/>
  <p:tag name="IGUANATEXSIZE" val="20"/>
  <p:tag name="IGUANATEXCURSOR" val="43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18,335"/>
  <p:tag name="ORIGINALWIDTH" val="3769,029"/>
  <p:tag name="LATEXADDIN" val="\documentclass{article}\pagestyle{empty}&#10;\usepackage{amsmath}&#10;\usepackage{amsfonts}&#10;\usepackage{amssymb}&#10;\usepackage[usenames,dvipsnames]{color}&#10;\begin{document}&#10;\begin{minipage}{12.4 cm}&#10;{\sffamily{&#10;{\bf{Inverse of a $2 \times 2$-Matrix:}}\\[1mm]&#10;Let $A \in \mathbb{R}^{2 \times 2}$ such that $\textrm{rk}(A) = 2$ (i.e. $\det(A) \neq 0$), then\\[-2mm]&#10;$$&#10;A \, \, = \, \, \begin{pmatrix} {\color{red}{a}} &amp; {\color{blue}{b}} \\ {\color{blue}{c}} &amp; {\color{red}{d}} \end{pmatrix}&#10;\qquad \text{leads to} \qquad&#10;A^{-1} \, \, = \, \, \frac{1}{\det(A)} \begin{pmatrix} {\color{red}{d}} &amp; {\color{blue}{-b}} \\ {\color{blue}{-c}} &amp; {\color{red}{a}} \end{pmatrix}&#10;$$&#10;such that\\[-2mm]&#10;$$&#10;A \, A^{-1} \, \, = \, \, A^{-1} \, A \, \, = \, \, \mathbb{I}_2 \, .&#10;$$&#10;If $A$ has rank $\textrm{rk}(A) &lt; 2$, then $A$ is said to be non-invertible.&#10;}}&#10;\end{minipage}&#10;\end{document}"/>
  <p:tag name="IGUANATEXSIZE" val="20"/>
  <p:tag name="IGUANATEXCURSOR" val="64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04,5"/>
  <p:tag name="ORIGINALWIDTH" val="4377,953"/>
  <p:tag name="LATEXADDIN" val="\documentclass{article}\pagestyle{empty}&#10;\usepackage{amsmath}&#10;\usepackage{amsfonts}&#10;\usepackage{amssymb}&#10;\begin{document}&#10;\begin{minipage}{12.4 cm}&#10;{\sffamily{&#10;{\bf{Proof:}}&#10;First, we have&#10;\begin{eqnarray*}&#10;A \, A^{-1} &amp; = &amp; \frac{1}{\det(A)} \, \begin{pmatrix} a &amp; b \\ c &amp; d \end{pmatrix} \begin{pmatrix} d &amp; -b \\ -c &amp; a \end{pmatrix}&#10;\, \, = \, \,&#10;\frac{1}{\det(A)} \, \begin{pmatrix} ad - bc &amp; -ab + ab \\ cd - cd &amp; -cb + ab \end{pmatrix}\\[1mm]&#10;&amp; = &amp;&#10;\frac{1}{ad - cb} \begin{pmatrix} ad - bc &amp; 0 \\ 0 &amp; -cb + ab \end{pmatrix} \, \, = \, \, \begin{pmatrix} 1 &amp; 0 \\ 0 &amp; 1 \end{pmatrix} \, \, = \, \, \mathbb{I}_2&#10;\end{eqnarray*}&#10;As the matrix-multiplication is not commutative, we need to verify $A^{-1} A = \mathbb{I}$ as well.&#10;\begin{eqnarray*}&#10;A^{-1} \, A &amp; = &amp; \frac{1}{\det(A)} \, \begin{pmatrix} d &amp; -b \\ -c &amp; a \end{pmatrix} \begin{pmatrix} a &amp; b \\ c &amp; d \end{pmatrix}&#10;\, \, = \, \,&#10;\frac{1}{\det(A)} \, \begin{pmatrix} ad - bc &amp; bd - bd \\ ac - ac &amp; -cb + ab \end{pmatrix}\\[1mm]&#10;&amp; = &amp;&#10;\frac{1}{ad - cb} \begin{pmatrix} ad - bc &amp; 0 \\ 0 &amp; -cb + ab \end{pmatrix} \, \, = \, \, \begin{pmatrix} 1 &amp; 0 \\ 0 &amp; 1 \end{pmatrix} \, \, = \, \, \mathbb{I}_2&#10;\end{eqnarray*}&#10;}}&#10;\end{minipage}&#10;\end{document}"/>
  <p:tag name="IGUANATEXSIZE" val="20"/>
  <p:tag name="IGUANATEXCURSOR" val="99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02,775"/>
  <p:tag name="ORIGINALWIDTH" val="3646,044"/>
  <p:tag name="LATEXADDIN" val="\documentclass{article}\pagestyle{empty}&#10;\usepackage{amsmath}&#10;\usepackage{amsfonts}&#10;\usepackage{amssymb}&#10;\usepackage[usenames,dvipsnames]{color}&#10;\begin{document}&#10;\begin{minipage}{12.4 cm}&#10;{\sffamily{&#10;{\bf{Example:}}&#10;Determine the inverse matrices of&#10;$$&#10;\begin{pmatrix} 7 &amp; 2 \\ 17 &amp; 5 \end{pmatrix} \qquad \text{and} \qquad \begin{pmatrix} 7 &amp; 4 \\ 3 &amp; 2 \end{pmatrix} \, .&#10;$$&#10;&#10;{\bf{Solution:}}\\[1mm]&#10;We have&#10;$$&#10;\begin{pmatrix} {\color{red}{7}} &amp; {\color{blue}{2}} \\ {\color{blue}{17}} &amp; {\color{red}{5}} \end{pmatrix}^{-1} &#10;\, \, = \, \, \frac{1}{35-34} \begin{pmatrix} {\color{red}{5}} &amp; {\color{blue}{-2}} \\ {\color{blue}{-17}} &amp; {\color{red}{7}} \end{pmatrix}&#10;\, \, = \, \, \begin{pmatrix} 5 &amp; -2 \\ -17 &amp; 7 \end{pmatrix}&#10;$$&#10;and&#10;$$&#10;\begin{pmatrix} {\color{red}{7}} &amp; {\color{blue}{4}} \\ {\color{blue}{3}} &amp; {\color{red}{2}} \end{pmatrix}^{-1}&#10;\, \, = \, \, \frac{1}{14-12} \begin{pmatrix} {\color{red}{2}} &amp; {\color{blue}{-4}} \\ {\color{blue}{-3}} &amp; {\color{red}{7}} \end{pmatrix}&#10;\, \, = \, \, \begin{pmatrix} 1 &amp; -2 \\ -\frac{3}{2} &amp; \frac{7}{2} \end{pmatrix}&#10;$$&#10;}}&#10;\end{minipage}&#10;\end{document}"/>
  <p:tag name="IGUANATEXSIZE" val="20"/>
  <p:tag name="IGUANATEXCURSOR" val="96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52,494"/>
  <p:tag name="ORIGINALWIDTH" val="4395,201"/>
  <p:tag name="LATEXADDIN" val="\documentclass{article}\pagestyle{empty}&#10;\usepackage{amsmath}&#10;\usepackage{amsfonts}&#10;\usepackage{amssymb}&#10;\usepackage[usenames,dvipsnames]{color}&#10;\begin{document}&#10;\begin{minipage}{12.4 cm}&#10;{\sffamily{&#10;By virtue of the linearity of the determinant per row, an immediate consequence of the formula for the inverse of a $2 \times 2$-matrix $A$ is\\[-6mm]&#10;\begin{eqnarray*}&#10;\det(A^{-1}) &amp; = &amp; \det\begin{pmatrix} \frac{{\color{red}{d}}}{\det(A)} &amp; \frac{{\color{blue}{-b}}}{\det(A)} \\ \frac{{\color{blue}{-c}}}{\det(A)} &amp; \frac{{\color{red}{a}}}{\det(A)} \end{pmatrix}\\&#10;&amp; = &amp; \frac{1}{\det(A)} \cdot \frac{1}{\det(A)} \cdot \det\begin{pmatrix} {\color{red}{d}} &amp; {\color{blue}{-b}} \\ {\color{blue}{-c}} &amp; {\color{red}{a}} \end{pmatrix}\\&#10;&amp; = &amp; &#10;\frac{1}{\det(A)} \cdot \frac{1}{\det(A)} \cdot \det \begin{pmatrix} {\color{red}{a}} &amp; {\color{blue}{b}} \\ {\color{blue}{c}} &amp; {\color{red}{d}} \end{pmatrix}\\&#10;&amp; = &amp; \frac{1}{\det(A)} \, \, = \, \, \left( \det(A) \right)^{-1}&#10;\end{eqnarray*}\\[-4mm]&#10;I.e., the determinant of the inverse is the inverse of the determinant. This holds for arbitrary invertible matrices.&#10;}}&#10;\end{minipage}&#10;\end{document}"/>
  <p:tag name="IGUANATEXSIZE" val="20"/>
  <p:tag name="IGUANATEXCURSOR" val="90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30,4088"/>
  <p:tag name="ORIGINALWIDTH" val="4377,203"/>
  <p:tag name="LATEXADDIN" val="\documentclass{article}\pagestyle{empty}&#10;\usepackage{amsmath}&#10;\usepackage{amsfonts}&#10;\usepackage{amssymb}&#10;\usepackage[usenames,dvipsnames]{color}&#10;\begin{document}&#10;\begin{minipage}{12.4 cm}&#10;{\sffamily{&#10;{\bf{The Determinant of the Inverse Matrix:}}\\[1mm]&#10;Let $A \in \mathbb{R}^{n \times n}$ be an invertible matrix (i.e. $\textrm{rk}(A) = n$), and $A^{-1}$ be its inverse. Then,&#10;$$&#10;\det(A^{-1}) \, \, = \, \, \frac{1}{\det(A)} \, .&#10;$$&#10;}}&#10;\end{minipage}&#10;\end{document}"/>
  <p:tag name="IGUANATEXSIZE" val="20"/>
  <p:tag name="IGUANATEXCURSOR" val="42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42,857"/>
  <p:tag name="ORIGINALWIDTH" val="4389,952"/>
  <p:tag name="LATEXADDIN" val="\documentclass{article}\pagestyle{empty}&#10;\usepackage{amsmath}&#10;\usepackage{amsfonts}&#10;\usepackage{amssymb}&#10;\begin{document}&#10;\begin{minipage}{12.4 cm}&#10;{\sffamily{&#10;What remains to show is how to actually compute the inverse of an arbitray invertible matrix.\\[1mm]&#10;We will do this by applying Gaussian elimination to transform one system into another one by elementary row operations:&#10;$$&#10;\left( A \, | \, \mathbb{I}_n \right) \quad \leadsto \quad \left( \mathbb{I}_n \, | \, A^{-1} \right)&#10;$$&#10;and illustrate this procedure for $2 \times 2$ and $3 \times 3$-matrices.&#10;}}&#10;\end{minipage}&#10;\end{document}"/>
  <p:tag name="IGUANATEXSIZE" val="20"/>
  <p:tag name="IGUANATEXCURSOR" val="37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12,749"/>
  <p:tag name="ORIGINALWIDTH" val="3886,014"/>
  <p:tag name="LATEXADDIN" val="\documentclass{article}\pagestyle{empty}&#10;\usepackage{amsmath}&#10;\usepackage{amsfonts}&#10;\usepackage{amssymb}&#10;\usepackage[usenames,dvipsnames]{color}&#10;\begin{document}&#10;\begin{minipage}{12.4 cm}&#10;{\sffamily{&#10;{\bf{Example:}} Let us apply our procedure to find the inverse of the matrix&#10;$$&#10;A \, \, = \, \, \left( \begin{array}{c c} 1 &amp; 2 \\ 3 &amp; 4 \end{array} \right) \, .&#10;$$&#10;First, $\det(A) = -2 \neq 0$, i.e. $A$ has full rank and is indeed invertible. Next,&#10;\begin{eqnarray*}&#10;\left( \begin{array}{c c | c c} 1 &amp; 2 &amp; 1 &amp; 0 \\ 3 &amp; 4 &amp; 0 &amp; 1 \end{array} \right) &amp; \to &amp;&#10; \left( \begin{array}{c c | c c} 1 &amp; 2 &amp; 1 &amp; 0 \\ 0 &amp; -2 &amp; -3 &amp; 1 \end{array} \right) \\[1mm]&#10;&amp; \to &amp;&#10; \left( \begin{array}{c c | c c} 1 &amp; 2 &amp; 1 &amp; 0 \\ 0 &amp; 1 &amp; 3/2 &amp; -1/2 \end{array} \right) \\[1mm]&#10;&amp; \to &amp;&#10; \left( \begin{array}{c c | c c} 1 &amp; 0 &amp; -2 &amp; 1 \\ 0 &amp; 1 &amp; 3/2 &amp; -1/2 \end{array} \right) \, .&#10;\end{eqnarray*}&#10;}}&#10;\end{minipage}&#10;\end{document}"/>
  <p:tag name="IGUANATEXSIZE" val="20"/>
  <p:tag name="IGUANATEXCURSOR" val="75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91</Words>
  <Application>Microsoft Office PowerPoint</Application>
  <PresentationFormat>Bildschirmpräsentation (16:9)</PresentationFormat>
  <Paragraphs>18</Paragraphs>
  <Slides>9</Slides>
  <Notes>0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9</vt:i4>
      </vt:variant>
    </vt:vector>
  </HeadingPairs>
  <TitlesOfParts>
    <vt:vector size="10" baseType="lpstr">
      <vt:lpstr>Larissa-Design</vt:lpstr>
      <vt:lpstr>Calculus II for MGMT – Introduction to Vectors &amp; Matrices Matrix Computations</vt:lpstr>
      <vt:lpstr>The inverse of a 2x2-matrix is easily obtained by virtue of an rather effortlessly to remember formula</vt:lpstr>
      <vt:lpstr>Proof: Formula for the inverse of a 2x2 matrix</vt:lpstr>
      <vt:lpstr>Example: Application of the formula for the inverse of a 2x2-matrix</vt:lpstr>
      <vt:lpstr>The determinant of the inverse is the inverse of the determinant (1/ 2)</vt:lpstr>
      <vt:lpstr>The determinant of the inverse is the inverse of the determinant (2/ 2)</vt:lpstr>
      <vt:lpstr>Example: Computation of the inverse of a 2x2 matrix</vt:lpstr>
      <vt:lpstr>Example: Computation of the inverse of a 3x3 matrix</vt:lpstr>
      <vt:lpstr>Calculus II for Management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Florian</dc:creator>
  <cp:lastModifiedBy>Florian Rupp</cp:lastModifiedBy>
  <cp:revision>178</cp:revision>
  <dcterms:created xsi:type="dcterms:W3CDTF">2020-04-04T18:50:50Z</dcterms:created>
  <dcterms:modified xsi:type="dcterms:W3CDTF">2023-02-19T20:47:29Z</dcterms:modified>
</cp:coreProperties>
</file>